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1" r:id="rId6"/>
    <p:sldId id="260" r:id="rId7"/>
    <p:sldId id="263" r:id="rId8"/>
    <p:sldId id="262" r:id="rId9"/>
    <p:sldId id="264" r:id="rId10"/>
    <p:sldId id="265" r:id="rId11"/>
    <p:sldId id="266" r:id="rId12"/>
    <p:sldId id="267" r:id="rId13"/>
  </p:sldIdLst>
  <p:sldSz cx="12192000" cy="6858000"/>
  <p:notesSz cx="6858000" cy="91440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4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2509F-786A-4188-A933-4815906348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884641-9724-49FD-B109-AB278995A0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6EF9B8-D782-4304-BA3C-C8CDF3746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5745AC-78D1-4976-908E-5228F496B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CAAC9C-C8EC-4FBC-A0E0-C20727CBC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86384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BE344-F3AE-43C7-9EF7-990D5DE7C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053BAC-7C1C-4D54-BDF7-0A8CBD630A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00D7EC-CDB0-4CDE-9FD1-C5FA06651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73BB13-D137-4E5D-A6A3-BE16EEF2C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FDCEFA-C44A-4022-8AEA-219CC0B9E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54912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03B6DD-8F0F-45CA-8BC5-F61A77064A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B50AD8-A3DF-45FC-AAB7-6E95E83E41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BE7194-5AA0-44C0-B630-03E36B322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04215D-203A-4FFA-9226-6B76152255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D32874-FFD2-418C-A39A-2C080C7A3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392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33D545-A2F5-41D7-B208-13E0F7CF0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6EAB71-6BCE-43A4-9A10-4A8CDDE98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2DBA55-2B35-47B3-BF39-68CC7A04D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AE495F-FCE3-4036-8B62-673F33F22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C600A-9E6A-4D36-97E6-94FDAC654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90016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B1922-A6AE-4175-B0D3-E30414A38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C4B43D-56F8-4FA8-9C15-9ECBF22EB1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290BB6-162C-4B98-A028-A3C9B4166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DE610B-2AB6-4546-9FC7-A2C40A49F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28B0F-6A98-401D-80FD-497DE492B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973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2926F-D950-4DCC-A21B-560C778B9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53666C-31EB-4B81-9B8A-67D214FA8A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127E43-24DF-4731-B6D3-6B279060B9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70800-B7B2-499F-9F93-5E9CD9378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BD862D-8646-4760-B3D4-439498E00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B4D8B8-762A-4FFA-8A14-034A194FA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5040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9DE921-978C-4644-BF53-D8685A5EF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6DFDC1-E80E-4EC8-B28E-FA5B42D590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07E611-65D1-4EF0-8F1C-A261018C23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33D567-A767-4242-A5BA-CE4E3605A7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A2105B-DB1F-4700-9EAE-BFB7AADF77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84A967-2B1C-4CC7-8C21-F4614F016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46D0F62-FD0F-463C-BC4C-BDE954F3A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39A790-649C-4027-AA63-0313B64E0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4210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29B11-3AA0-4012-81F7-7B63FCB43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735A30-7935-4CA2-8016-C2334572E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D4E293-D8CB-4EBE-AD49-9F6CB4DDC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89B749-447A-477B-8C4F-161F76834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5617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565C9B-45E2-46F3-BADD-B98010006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817FA1-7C86-47D4-A152-48BCAA882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09DDA9-5C27-4D4A-B555-3A8F9D804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70283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B2CEE9-A68F-436F-AF3B-9BD5DC739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E0B674-EC5A-4D24-B634-A74A9D6624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D2E065-0586-4CDA-94F6-4C112E2232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493D94-8506-4853-B992-2F7F6621D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9B705B-BFAB-4168-A1FD-A62F7A4FA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5A2756-5C4D-4917-8B6A-8E99E9DF2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205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333446-CC06-4E59-96B5-BCCEAFA84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8E5A86-565D-4678-8941-2C8AA969E3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751A06-2768-4DBD-9E4B-72A4DBED0B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3050AC-EA18-46DA-919C-B67A2F7D6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5BDB66-DD33-432E-AB1E-318BAA6F8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A53480-BE51-457F-B6E4-5FEB2EA95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7222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7A9FAE-8674-4D1F-BD7B-1EFFA0E142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80862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01" imgH="502" progId="TCLayout.ActiveDocument.1">
                  <p:embed/>
                </p:oleObj>
              </mc:Choice>
              <mc:Fallback>
                <p:oleObj name="think-cell Slide" r:id="rId14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17421F3-048C-44CE-9103-307C0AF00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2A244A-C384-4689-9F76-B32597D87D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8429CA-040F-41D3-806A-32BB206217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89AC5A-A9AC-41E2-A2DC-CFF47FD4E3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382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11" Type="http://schemas.openxmlformats.org/officeDocument/2006/relationships/image" Target="../media/image8.jpg"/><Relationship Id="rId5" Type="http://schemas.openxmlformats.org/officeDocument/2006/relationships/image" Target="../media/image2.png"/><Relationship Id="rId10" Type="http://schemas.openxmlformats.org/officeDocument/2006/relationships/image" Target="../media/image7.jpeg"/><Relationship Id="rId4" Type="http://schemas.openxmlformats.org/officeDocument/2006/relationships/image" Target="../media/image1.emf"/><Relationship Id="rId9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oleObject" Target="../embeddings/oleObject3.bin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image" Target="../media/image1.emf"/><Relationship Id="rId7" Type="http://schemas.openxmlformats.org/officeDocument/2006/relationships/tags" Target="../tags/tag10.xml"/><Relationship Id="rId71" Type="http://schemas.openxmlformats.org/officeDocument/2006/relationships/tags" Target="../tags/tag7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hyperlink" Target="https://github.com/martynyuks/yon-yonson-team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7.xml"/><Relationship Id="rId6" Type="http://schemas.openxmlformats.org/officeDocument/2006/relationships/hyperlink" Target="https://www.kaggle.com/datasets/olistbr/brazilian-ecommerce" TargetMode="External"/><Relationship Id="rId5" Type="http://schemas.openxmlformats.org/officeDocument/2006/relationships/hyperlink" Target="https://open-meteo.com/en/docs/historical-weather-api" TargetMode="Externa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FA471C-0AF1-499E-B51C-D1EE5DD931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135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D9A0BD3-99F6-4D0D-B071-17C1DF9D92DE}"/>
              </a:ext>
            </a:extLst>
          </p:cNvPr>
          <p:cNvSpPr txBox="1"/>
          <p:nvPr/>
        </p:nvSpPr>
        <p:spPr>
          <a:xfrm>
            <a:off x="256032" y="164592"/>
            <a:ext cx="4815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Black" panose="020B0A04020102020204" pitchFamily="34" charset="0"/>
              </a:rPr>
              <a:t>Команда Рекурсивный Йон Йонсон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1A35FF-4D3C-4FFE-A778-67EB8378498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445" y="1002120"/>
            <a:ext cx="1556657" cy="1499466"/>
          </a:xfrm>
          <a:prstGeom prst="round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9959D87-6555-479E-A7CF-9542A7098F31}"/>
              </a:ext>
            </a:extLst>
          </p:cNvPr>
          <p:cNvSpPr txBox="1"/>
          <p:nvPr/>
        </p:nvSpPr>
        <p:spPr>
          <a:xfrm>
            <a:off x="2137771" y="1005840"/>
            <a:ext cx="1911095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БЕЛЯКОВ </a:t>
            </a:r>
          </a:p>
          <a:p>
            <a:r>
              <a:rPr lang="ru-RU" dirty="0"/>
              <a:t>Илья</a:t>
            </a:r>
          </a:p>
          <a:p>
            <a:endParaRPr lang="ru-RU" sz="1400" b="1" dirty="0"/>
          </a:p>
          <a:p>
            <a:r>
              <a:rPr lang="ru-RU" sz="1400" b="1" dirty="0"/>
              <a:t>Менеджер проекта,</a:t>
            </a:r>
          </a:p>
          <a:p>
            <a:r>
              <a:rPr lang="ru-RU" sz="1400" b="1" dirty="0" err="1"/>
              <a:t>таймкипер</a:t>
            </a:r>
            <a:endParaRPr lang="ru-RU" sz="1400" b="1" dirty="0"/>
          </a:p>
          <a:p>
            <a:r>
              <a:rPr lang="ru-RU" sz="1400" i="1" dirty="0"/>
              <a:t>Москв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Использование глубокого обучения в маркетинге, дизайн-мышлении и JTB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E114ED-C0C8-41AB-A8B7-3559A957D545}"/>
              </a:ext>
            </a:extLst>
          </p:cNvPr>
          <p:cNvSpPr txBox="1"/>
          <p:nvPr/>
        </p:nvSpPr>
        <p:spPr>
          <a:xfrm>
            <a:off x="9777384" y="1005840"/>
            <a:ext cx="1911096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КАГИРИНА </a:t>
            </a:r>
          </a:p>
          <a:p>
            <a:r>
              <a:rPr lang="ru-RU" dirty="0"/>
              <a:t>Ксения</a:t>
            </a:r>
          </a:p>
          <a:p>
            <a:endParaRPr lang="ru-RU" sz="1400" b="1" dirty="0"/>
          </a:p>
          <a:p>
            <a:r>
              <a:rPr lang="ru-RU" sz="1400" b="1" dirty="0"/>
              <a:t>Менеджер продукта,</a:t>
            </a:r>
          </a:p>
          <a:p>
            <a:r>
              <a:rPr lang="ru-RU" sz="1400" b="1" dirty="0"/>
              <a:t>визуализация выводов</a:t>
            </a:r>
          </a:p>
          <a:p>
            <a:r>
              <a:rPr lang="ru-RU" sz="1400" i="1" dirty="0"/>
              <a:t>Москв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Компьютерное зрение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632D154-DC4E-446C-92A8-B1744F2BB91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47"/>
          <a:stretch/>
        </p:blipFill>
        <p:spPr>
          <a:xfrm flipV="1">
            <a:off x="8002890" y="951500"/>
            <a:ext cx="1647461" cy="1593223"/>
          </a:xfrm>
          <a:prstGeom prst="round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D93E0D0-F136-4300-99BC-1A31D5F7EFCB}"/>
              </a:ext>
            </a:extLst>
          </p:cNvPr>
          <p:cNvSpPr txBox="1"/>
          <p:nvPr/>
        </p:nvSpPr>
        <p:spPr>
          <a:xfrm>
            <a:off x="9001034" y="3703796"/>
            <a:ext cx="2862125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АРТЫНЮК</a:t>
            </a:r>
          </a:p>
          <a:p>
            <a:r>
              <a:rPr lang="ru-RU" dirty="0"/>
              <a:t>Сергей</a:t>
            </a:r>
          </a:p>
          <a:p>
            <a:endParaRPr lang="ru-RU" sz="1400" b="1" dirty="0"/>
          </a:p>
          <a:p>
            <a:r>
              <a:rPr lang="en-US" sz="1400" b="1" dirty="0"/>
              <a:t>Git</a:t>
            </a:r>
            <a:endParaRPr lang="ru-RU" sz="1400" b="1" dirty="0"/>
          </a:p>
          <a:p>
            <a:r>
              <a:rPr lang="ru-RU" sz="1400" i="1" dirty="0"/>
              <a:t>Санкт-</a:t>
            </a:r>
          </a:p>
          <a:p>
            <a:r>
              <a:rPr lang="ru-RU" sz="1400" i="1" dirty="0"/>
              <a:t>Петербург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Работа с данными астрономических и космических исследований, машинное зрение в робототехник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D7F81EC-3637-466F-882D-3A203DEC698F}"/>
              </a:ext>
            </a:extLst>
          </p:cNvPr>
          <p:cNvSpPr txBox="1"/>
          <p:nvPr/>
        </p:nvSpPr>
        <p:spPr>
          <a:xfrm>
            <a:off x="2979001" y="3703796"/>
            <a:ext cx="2862125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АКАРОВ </a:t>
            </a:r>
          </a:p>
          <a:p>
            <a:r>
              <a:rPr lang="ru-RU" dirty="0"/>
              <a:t>Александр</a:t>
            </a:r>
          </a:p>
          <a:p>
            <a:endParaRPr lang="ru-RU" sz="1400" b="1" dirty="0"/>
          </a:p>
          <a:p>
            <a:r>
              <a:rPr lang="en-US" sz="1400" b="1" dirty="0"/>
              <a:t>API</a:t>
            </a:r>
            <a:r>
              <a:rPr lang="ru-RU" sz="1400" b="1" dirty="0"/>
              <a:t>-инженер,</a:t>
            </a:r>
          </a:p>
          <a:p>
            <a:r>
              <a:rPr lang="ru-RU" sz="1400" b="1" dirty="0" err="1"/>
              <a:t>Парсинг</a:t>
            </a:r>
            <a:r>
              <a:rPr lang="ru-RU" sz="1400" b="1" dirty="0"/>
              <a:t> </a:t>
            </a:r>
          </a:p>
          <a:p>
            <a:r>
              <a:rPr lang="ru-RU" sz="1400" b="1" dirty="0"/>
              <a:t>данных</a:t>
            </a:r>
          </a:p>
          <a:p>
            <a:r>
              <a:rPr lang="ru-RU" sz="1400" i="1" dirty="0"/>
              <a:t>Москв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Работа с данными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F4B7197-453C-4C88-B69B-F89D88CAC4C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10"/>
          <a:stretch/>
        </p:blipFill>
        <p:spPr>
          <a:xfrm>
            <a:off x="4261039" y="3603036"/>
            <a:ext cx="1581231" cy="1506755"/>
          </a:xfrm>
          <a:prstGeom prst="round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AD439E2-86D7-44F2-83CA-399B90604615}"/>
              </a:ext>
            </a:extLst>
          </p:cNvPr>
          <p:cNvSpPr txBox="1"/>
          <p:nvPr/>
        </p:nvSpPr>
        <p:spPr>
          <a:xfrm>
            <a:off x="6091794" y="1005840"/>
            <a:ext cx="191109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БОГОМОЛОВ </a:t>
            </a:r>
          </a:p>
          <a:p>
            <a:r>
              <a:rPr lang="ru-RU" dirty="0"/>
              <a:t>Алексей</a:t>
            </a:r>
          </a:p>
          <a:p>
            <a:endParaRPr lang="ru-RU" sz="1400" b="1" dirty="0"/>
          </a:p>
          <a:p>
            <a:r>
              <a:rPr lang="en-US" sz="1400" b="1" dirty="0"/>
              <a:t>Feature - </a:t>
            </a:r>
            <a:r>
              <a:rPr lang="ru-RU" sz="1400" b="1" dirty="0"/>
              <a:t>инженер</a:t>
            </a:r>
          </a:p>
          <a:p>
            <a:r>
              <a:rPr lang="ru-RU" sz="1400" i="1" dirty="0"/>
              <a:t>Караганд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Разработка и продвижение цифровых продуктов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25D9B7A-F560-4962-88B7-C5692E6AC16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38"/>
          <a:stretch/>
        </p:blipFill>
        <p:spPr>
          <a:xfrm>
            <a:off x="4189111" y="1002120"/>
            <a:ext cx="1592204" cy="1542603"/>
          </a:xfrm>
          <a:prstGeom prst="round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6B4C4E94-CD99-4CB1-B860-C16F9A61CEC8}"/>
              </a:ext>
            </a:extLst>
          </p:cNvPr>
          <p:cNvSpPr txBox="1"/>
          <p:nvPr/>
        </p:nvSpPr>
        <p:spPr>
          <a:xfrm>
            <a:off x="256032" y="3703796"/>
            <a:ext cx="265934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ЛОСЕВА </a:t>
            </a:r>
          </a:p>
          <a:p>
            <a:r>
              <a:rPr lang="ru-RU" dirty="0"/>
              <a:t>Надежда</a:t>
            </a:r>
          </a:p>
          <a:p>
            <a:endParaRPr lang="ru-RU" dirty="0"/>
          </a:p>
          <a:p>
            <a:r>
              <a:rPr lang="ru-RU" sz="1400" b="1" dirty="0"/>
              <a:t>Аналитик,</a:t>
            </a:r>
          </a:p>
          <a:p>
            <a:r>
              <a:rPr lang="ru-RU" sz="1400" b="1" dirty="0"/>
              <a:t>Очистка </a:t>
            </a:r>
          </a:p>
          <a:p>
            <a:r>
              <a:rPr lang="ru-RU" sz="1400" b="1" dirty="0"/>
              <a:t>и анализ </a:t>
            </a:r>
          </a:p>
          <a:p>
            <a:r>
              <a:rPr lang="ru-RU" sz="1400" b="1" dirty="0"/>
              <a:t>данных, визуализация, выводы, презентация</a:t>
            </a:r>
          </a:p>
          <a:p>
            <a:r>
              <a:rPr lang="ru-RU" sz="1400" i="1" dirty="0"/>
              <a:t>Москв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Анализ данных, поиск новых возможностей и внедрение AI в бизнес-процессы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05CF7FD-7575-40A1-8B30-59A97D7AC90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47" b="6089"/>
          <a:stretch/>
        </p:blipFill>
        <p:spPr>
          <a:xfrm>
            <a:off x="1311571" y="3603037"/>
            <a:ext cx="1555204" cy="1506755"/>
          </a:xfrm>
          <a:prstGeom prst="round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EB60E29-AE56-4D4A-927F-6D0A029F23DA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8" r="21705"/>
          <a:stretch/>
        </p:blipFill>
        <p:spPr>
          <a:xfrm rot="16200000">
            <a:off x="10408657" y="3577557"/>
            <a:ext cx="1506756" cy="1557711"/>
          </a:xfrm>
          <a:prstGeom prst="round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CCAF768-5FD3-0421-4F60-B72C36DA2718}"/>
              </a:ext>
            </a:extLst>
          </p:cNvPr>
          <p:cNvSpPr txBox="1"/>
          <p:nvPr/>
        </p:nvSpPr>
        <p:spPr>
          <a:xfrm>
            <a:off x="5900066" y="3747223"/>
            <a:ext cx="298874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/>
              <a:t>КОРОЛЬКОВА</a:t>
            </a:r>
          </a:p>
          <a:p>
            <a:r>
              <a:rPr lang="ru-RU" dirty="0"/>
              <a:t>Карина</a:t>
            </a:r>
          </a:p>
          <a:p>
            <a:endParaRPr lang="ru-RU" sz="1800" b="1" dirty="0"/>
          </a:p>
          <a:p>
            <a:r>
              <a:rPr lang="ru-RU" sz="1400" b="1" dirty="0"/>
              <a:t>Генератор</a:t>
            </a:r>
          </a:p>
          <a:p>
            <a:r>
              <a:rPr lang="ru-RU" sz="1400" b="1" dirty="0"/>
              <a:t>идей,</a:t>
            </a:r>
          </a:p>
          <a:p>
            <a:r>
              <a:rPr lang="ru-RU" sz="1400" b="1" dirty="0"/>
              <a:t>метео-эксперт</a:t>
            </a:r>
          </a:p>
          <a:p>
            <a:r>
              <a:rPr lang="ru-RU" sz="1400" i="1" dirty="0"/>
              <a:t>Санкт-Петербург</a:t>
            </a:r>
          </a:p>
          <a:p>
            <a:endParaRPr lang="ru-RU" sz="16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ГИС-аналитика и анализ данных в урбанистике</a:t>
            </a:r>
            <a:endParaRPr lang="ru-RU" sz="1800" b="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560B454-F77E-5078-9779-338F5C3883F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4437" y="3599390"/>
            <a:ext cx="1494371" cy="1480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67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9" y="886839"/>
            <a:ext cx="10729702" cy="48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Чем дольше идет дождь - тем ниже стоимость покупок, но больше их общее кол-во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F917B2-CDC1-BFC3-99DA-5A41EED3AA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14" y="1371589"/>
            <a:ext cx="10972822" cy="5486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1014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9" y="1041371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Наибольшее влияние на рост заказов оказывают сила ветра и давление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184ECA-27EC-4F39-0F7B-61A01A8F24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89" y="1371589"/>
            <a:ext cx="10972822" cy="5486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01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98F2E-3B8F-14EF-80F5-822E21129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3868" y="2513102"/>
            <a:ext cx="10515600" cy="1325563"/>
          </a:xfrm>
        </p:spPr>
        <p:txBody>
          <a:bodyPr/>
          <a:lstStyle/>
          <a:p>
            <a:r>
              <a:rPr lang="ru-RU" dirty="0">
                <a:latin typeface="+mn-lt"/>
              </a:rPr>
              <a:t>Благодарим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878266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FA471C-0AF1-499E-B51C-D1EE5DD931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280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501" imgH="502" progId="TCLayout.ActiveDocument.1">
                  <p:embed/>
                </p:oleObj>
              </mc:Choice>
              <mc:Fallback>
                <p:oleObj name="think-cell Slide" r:id="rId75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FA471C-0AF1-499E-B51C-D1EE5DD93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D9A0BD3-99F6-4D0D-B071-17C1DF9D92DE}"/>
              </a:ext>
            </a:extLst>
          </p:cNvPr>
          <p:cNvSpPr txBox="1"/>
          <p:nvPr/>
        </p:nvSpPr>
        <p:spPr>
          <a:xfrm>
            <a:off x="256032" y="164592"/>
            <a:ext cx="7063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Black" panose="020B0A04020102020204" pitchFamily="34" charset="0"/>
              </a:rPr>
              <a:t>Дорожная карта команды Рекурсивный Йон Йонсон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405187" y="749300"/>
            <a:ext cx="72024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258207-B005-4815-B994-EDA97FD24123}" type="datetime'''''''''''''''''''''''''''д''''''''''''''''''''''''''е''к'''''">
              <a:rPr lang="ru-RU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дек</a:t>
            </a:fld>
            <a:endParaRPr lang="ru-RU" sz="1400" b="1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831E307-AC48-4133-81F4-880B5D5CF35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405188" y="989013"/>
            <a:ext cx="50419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A14456-5B20-400E-B8A1-557DAA8CD30C}" type="datetime'''5''1'''''''''''''''''">
              <a:rPr lang="ru-RU" altLang="en-US" sz="1400" b="1" smtClean="0"/>
              <a:pPr/>
              <a:t>51</a:t>
            </a:fld>
            <a:endParaRPr lang="ru-RU" sz="1400" b="1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110623A-9F5C-459E-B804-A00881C0CAE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447087" y="989013"/>
            <a:ext cx="21605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CCA33C-6EA8-4B9F-A312-41217649B79C}" type="datetime'''''''''''''''''''''''''''5''''''''''''''''''2'''''''''''">
              <a:rPr lang="ru-RU" altLang="en-US" sz="1400" b="1" smtClean="0"/>
              <a:pPr/>
              <a:t>52</a:t>
            </a:fld>
            <a:endParaRPr lang="ru-RU" sz="1400" b="1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F11F6993-6567-448D-B6BB-DD1E4D57E68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405188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5A96D6-7C13-45AB-A43E-9B983ACBD546}" type="datetime'''''1''''''''''''''''''''9'''''''''''''''''''">
              <a:rPr lang="ru-RU" altLang="en-US" sz="1400" b="1" smtClean="0"/>
              <a:pPr/>
              <a:t>19</a:t>
            </a:fld>
            <a:endParaRPr lang="ru-RU" sz="1400" b="1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B32402A8-E65C-4E50-996B-729DA53B79A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125913" y="1228725"/>
            <a:ext cx="7191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B4DA10-D776-4786-950F-338B50CA659C}" type="datetime'''''''''2''''''''''''''''''''''''''0'''''''''''">
              <a:rPr lang="ru-RU" altLang="en-US" sz="1400" b="1" smtClean="0"/>
              <a:pPr/>
              <a:t>20</a:t>
            </a:fld>
            <a:endParaRPr lang="ru-RU" sz="1400" b="1" dirty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C8EEE549-2D61-4A6F-B866-3B2F9657411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845050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264338-8B70-4895-935E-00533BCBE992}" type="datetime'''2''1'''''''''''''''''">
              <a:rPr lang="ru-RU" altLang="en-US" sz="1400" b="1" smtClean="0"/>
              <a:pPr/>
              <a:t>21</a:t>
            </a:fld>
            <a:endParaRPr lang="ru-RU" sz="1400" b="1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732F2F35-FBB5-49B0-9248-CD47A45A4B5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65775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69BE96-EF6C-4CEA-9F04-629226E83AD2}" type="datetime'''''''''''2''''''''''''2'''''''''''''''''''''''''''''">
              <a:rPr lang="ru-RU" altLang="en-US" sz="1400" b="1" smtClean="0"/>
              <a:pPr/>
              <a:t>22</a:t>
            </a:fld>
            <a:endParaRPr lang="ru-RU" sz="1400" b="1" dirty="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A08F18D2-64F4-4AAC-BAD1-A5B8406B56D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86500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3F0FC3-5938-4EB7-913A-54497F91C935}" type="datetime'''''''''''23'''''''''''''">
              <a:rPr lang="ru-RU" altLang="en-US" sz="1400" b="1" smtClean="0"/>
              <a:pPr/>
              <a:t>23</a:t>
            </a:fld>
            <a:endParaRPr lang="ru-RU" sz="1400" b="1" dirty="0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63AF9F88-2F94-4F2A-9E66-884FF6215CB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07225" y="1228725"/>
            <a:ext cx="7191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10052C-77A3-4006-AF38-C6B9D81F165F}" type="datetime'''''''''''2''''''''''''''''''''4'">
              <a:rPr lang="ru-RU" altLang="en-US" sz="1400" b="1" smtClean="0"/>
              <a:pPr/>
              <a:t>24</a:t>
            </a:fld>
            <a:endParaRPr lang="ru-RU" sz="1400" b="1" dirty="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1F50A456-D7F9-4A04-83F2-4CC361B50EF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26363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80E23E-A712-4ABB-9DFB-2ED0187764F0}" type="datetime'''''''''''''''2''''''5'''''''''''''''''''">
              <a:rPr lang="ru-RU" altLang="en-US" sz="1400" b="1" smtClean="0"/>
              <a:pPr/>
              <a:t>25</a:t>
            </a:fld>
            <a:endParaRPr lang="ru-RU" sz="1400" b="1" dirty="0"/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EF0B8F5B-4145-4C00-974D-9C65986B223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47088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B3052B-3B76-4B26-9F67-3DF000938CFA}" type="datetime'''2''''''''''''''''''''''''''''6'''''''''''''''''''''''''">
              <a:rPr lang="ru-RU" altLang="en-US" sz="1400" b="1" smtClean="0"/>
              <a:pPr/>
              <a:t>26</a:t>
            </a:fld>
            <a:endParaRPr lang="ru-RU" sz="1400" b="1" dirty="0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3F37924C-79DA-493D-864D-54A17F494FC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67813" y="1228725"/>
            <a:ext cx="7191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B0B998-B94C-460B-BACD-BF94A2CDE6B6}" type="datetime'''''''''''''''''''''''''2''''''''''''''''''''''''''''7'''''''">
              <a:rPr lang="ru-RU" altLang="en-US" sz="1400" b="1" smtClean="0"/>
              <a:pPr/>
              <a:t>27</a:t>
            </a:fld>
            <a:endParaRPr lang="ru-RU" sz="1400" b="1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9E283B97-53DF-4B8A-9084-4141D6F188C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886950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AFD15C-013E-42E5-853B-9BF1D930C0C6}" type="datetime'''''''''''''''''''''''2''''''''''8'''''''''''''''''''">
              <a:rPr lang="ru-RU" altLang="en-US" sz="1400" b="1" smtClean="0"/>
              <a:pPr/>
              <a:t>28</a:t>
            </a:fld>
            <a:endParaRPr lang="ru-RU" sz="1400" b="1" dirty="0"/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C484EE0-9E48-487A-AE19-977DCB4BF30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607675" y="1468438"/>
            <a:ext cx="0" cy="5078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CEDDBEB-BDD0-4831-99F2-60E07669F9B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1999190" y="1468438"/>
            <a:ext cx="0" cy="5078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1981E698-9849-4FE7-8C09-69E365315BC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8447088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8653DC1-B403-4D17-A654-B4113F497FB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3405188" y="1468438"/>
            <a:ext cx="0" cy="5078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E7601C5-1DF6-4C77-B731-D476FC05C89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12775" y="1468438"/>
            <a:ext cx="0" cy="5078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BF9E1A3F-55EF-4736-969F-3E9FBB28FA3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845050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65295120-251E-482E-9592-808495F895E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565775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7838BE0C-8348-4DDA-9BD5-9FA718CBC4A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286500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A4D7029-D0AA-4D8F-B0BA-C20872E0171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007225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0E1D29DF-EDC6-45C5-A77B-57F7122E524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726363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B1EB10B7-D279-4E0E-83B9-E85D638A981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125913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6EDCB44-A46F-4FCB-9DE7-73FF85C8D29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9167813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B705150D-C59C-46E2-A7BD-DBD84B77127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9886950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257678A7-2710-4CA8-AA5F-4BC44F9E17E1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12775" y="6546850"/>
            <a:ext cx="11312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800689A-3DF5-436A-9C98-6C48B1D71624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612775" y="1468438"/>
            <a:ext cx="11312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3C59298-29A7-4813-BE8C-372A94F857A2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4125913" y="2754313"/>
            <a:ext cx="288131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F58C8375-918B-468C-BA15-2AFF9F42EEDD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4125913" y="1736725"/>
            <a:ext cx="14398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E98CBBF9-6CE1-4B12-863E-670202CB052F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4125913" y="2139950"/>
            <a:ext cx="14398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CD61E41E-A1D9-4A58-BFD5-DDACF702A136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409950" y="3157538"/>
            <a:ext cx="35972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7D7198A0-0233-4530-9D31-6CFF4B7AB021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447088" y="5788025"/>
            <a:ext cx="14398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CDFB6FCB-72FD-4224-A161-F2C2F991C23B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5565775" y="2351088"/>
            <a:ext cx="72072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F286F6E-D9E0-4046-99D6-7BA8EC49A353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3409950" y="1525588"/>
            <a:ext cx="7159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3EFCC28E-CDBD-476D-A50F-4353A3CF5C17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886950" y="6191250"/>
            <a:ext cx="7159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DB2DF88E-3469-4B1F-A21C-24AB192C2367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5565775" y="3963988"/>
            <a:ext cx="2160588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1582439B-BE7E-4321-B1A5-822256BFB5A0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5565775" y="4367213"/>
            <a:ext cx="2160588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20D82D1B-3963-497F-9F54-4A62AEE7BFEF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7726363" y="4981575"/>
            <a:ext cx="72072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FF44F44F-EEB2-4193-8B6C-2741EA3ACF92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5565775" y="4770438"/>
            <a:ext cx="2160588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8B2B30AE-0A8F-4BC2-A40C-1B4C28EBD684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5565774" y="3560763"/>
            <a:ext cx="144145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F6D949ED-919E-4491-B576-BD12A19CC533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447088" y="5384800"/>
            <a:ext cx="72072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7206440C-06ED-40D5-81EB-77A69960D15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84213" y="3517900"/>
            <a:ext cx="26495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одготовка рабочего пространства</a:t>
            </a:r>
            <a:br>
              <a:rPr lang="ru-RU" altLang="en-US" sz="1400" dirty="0"/>
            </a:br>
            <a:r>
              <a:rPr lang="ru-RU" altLang="en-US" sz="1400" dirty="0"/>
              <a:t>на </a:t>
            </a:r>
            <a:r>
              <a:rPr lang="en-US" altLang="en-US" sz="1400" dirty="0"/>
              <a:t>GitHub</a:t>
            </a:r>
            <a:endParaRPr lang="ru-RU" sz="1400" dirty="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FFCB70FF-9FCA-4744-A41D-6717BB6A82C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679113" y="5745163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Беляков, </a:t>
            </a:r>
            <a:r>
              <a:rPr lang="ru-RU" altLang="en-US" sz="1400" dirty="0"/>
              <a:t>Лосева</a:t>
            </a:r>
            <a:endParaRPr lang="ru-RU" sz="1400" dirty="0"/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/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C7E079B8-20BB-44E3-B01D-3EDA2E34309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84213" y="3921125"/>
            <a:ext cx="20462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одготовка документации </a:t>
            </a:r>
            <a:br>
              <a:rPr lang="ru-RU" altLang="en-US" sz="1400" dirty="0"/>
            </a:br>
            <a:r>
              <a:rPr lang="ru-RU" altLang="en-US" sz="1400" dirty="0"/>
              <a:t>(аннотации) по проекту</a:t>
            </a:r>
            <a:endParaRPr lang="ru-RU" sz="1400" dirty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679113" y="1252538"/>
            <a:ext cx="1174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EF6C31-FDEC-4932-BAEF-F6656181587F}" type="datetime'''''От''''''''''''в''''''е''''т''''с''''''тв''е''н''''н''ый'">
              <a:rPr lang="ru-RU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Ответственный</a:t>
            </a:fld>
            <a:endParaRPr lang="ru-RU" sz="1400" b="1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18B10141-29FD-4590-88BA-7F4B87408F1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4213" y="5341938"/>
            <a:ext cx="22304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Доработка датасета с учетом </a:t>
            </a:r>
            <a:br>
              <a:rPr lang="ru-RU" altLang="en-US" sz="1400" dirty="0"/>
            </a:br>
            <a:r>
              <a:rPr lang="ru-RU" altLang="en-US" sz="1400" dirty="0"/>
              <a:t>обратной связи</a:t>
            </a:r>
            <a:endParaRPr lang="ru-RU" sz="1400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0679113" y="2308225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Беляков</a:t>
            </a: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B24512D-ABE7-44DC-B4EB-21994082C6D1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679113" y="2097088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Беляков</a:t>
            </a:r>
            <a:endParaRPr lang="ru-RU" sz="1400" dirty="0"/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EA772934-82B1-46AE-AA1E-DB17F8557760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0679113" y="1693863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Беляков</a:t>
            </a:r>
            <a:endParaRPr lang="ru-RU" sz="1400" dirty="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D75E3540-D753-431D-A753-F2C6A963FC7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84214" y="5745163"/>
            <a:ext cx="21955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Подготовка презентации для</a:t>
            </a:r>
            <a:br>
              <a:rPr lang="en-US" sz="1400" dirty="0"/>
            </a:br>
            <a:r>
              <a:rPr lang="en-US" sz="1400" dirty="0"/>
              <a:t>Demo Day</a:t>
            </a:r>
            <a:endParaRPr lang="ru-RU" sz="140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B3EE8E08-ADDA-4EA1-A951-A192815BC91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0679113" y="1482725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Беляков</a:t>
            </a:r>
            <a:endParaRPr lang="ru-RU" sz="14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E0453EB4-C94E-4590-8B17-EBDC6CE53571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679113" y="2711450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Лосева, Макаров</a:t>
            </a:r>
            <a:endParaRPr lang="ru-RU" sz="14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84213" y="2711450"/>
            <a:ext cx="24384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Исследование </a:t>
            </a:r>
            <a:r>
              <a:rPr lang="en-US" sz="1400" dirty="0"/>
              <a:t>API </a:t>
            </a:r>
            <a:r>
              <a:rPr lang="ru-RU" sz="1400" dirty="0"/>
              <a:t>и интерфейса</a:t>
            </a:r>
            <a:br>
              <a:rPr lang="ru-RU" sz="1400" dirty="0"/>
            </a:br>
            <a:r>
              <a:rPr lang="ru-RU" sz="1400" dirty="0"/>
              <a:t>основных источников данных</a:t>
            </a: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5D3ECA1E-2E52-4223-9174-F6DCF1D048F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679113" y="3921125"/>
            <a:ext cx="676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Макаров</a:t>
            </a:r>
            <a:endParaRPr lang="ru-RU" sz="14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84213" y="1482725"/>
            <a:ext cx="1179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Kick-off meeting</a:t>
            </a:r>
            <a:endParaRPr lang="ru-RU" sz="1400" dirty="0"/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6AE888B6-15E6-468A-98E4-E8E5D0C701CA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84214" y="4727575"/>
            <a:ext cx="1863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Формирование датасета</a:t>
            </a:r>
            <a:endParaRPr lang="ru-RU" sz="1400" dirty="0"/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BA2D8642-5852-4509-8DA8-6F4A393BF965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679113" y="4727575"/>
            <a:ext cx="712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Лосева</a:t>
            </a:r>
            <a:endParaRPr lang="ru-RU" sz="1400" dirty="0"/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F5442B7F-53C5-4F9A-8F5E-B66640FD940A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84213" y="4324350"/>
            <a:ext cx="24225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одготовка описания структуры</a:t>
            </a:r>
            <a:br>
              <a:rPr lang="ru-RU" altLang="en-US" sz="1400" dirty="0"/>
            </a:br>
            <a:r>
              <a:rPr lang="ru-RU" altLang="en-US" sz="1400" dirty="0"/>
              <a:t>и источников информации</a:t>
            </a:r>
            <a:endParaRPr lang="ru-RU" sz="14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5A0585C7-FE6C-4012-8A9C-8C00B136A55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679113" y="4324350"/>
            <a:ext cx="712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Кагирина</a:t>
            </a:r>
            <a:endParaRPr lang="ru-RU" sz="14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84213" y="1693863"/>
            <a:ext cx="16017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Разработка визитной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карточки команды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684212" y="3114675"/>
            <a:ext cx="21351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Формирование гипотез для </a:t>
            </a:r>
            <a:br>
              <a:rPr lang="ru-RU" altLang="en-US" sz="1400" dirty="0"/>
            </a:br>
            <a:r>
              <a:rPr lang="ru-RU" altLang="en-US" sz="1400" dirty="0"/>
              <a:t>дальнейшей проработки</a:t>
            </a:r>
            <a:endParaRPr lang="ru-RU" sz="1400" dirty="0"/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1DD058DE-07D0-411E-A808-863828E62A93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0679113" y="3114675"/>
            <a:ext cx="712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err="1"/>
              <a:t>Кагирина</a:t>
            </a:r>
            <a:r>
              <a:rPr lang="ru-RU" altLang="en-US" sz="1400" dirty="0"/>
              <a:t>, Лосева</a:t>
            </a:r>
            <a:endParaRPr lang="ru-RU" sz="1400" dirty="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95E1EDAA-0619-4D32-A313-029FDDE4EA9A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682287" y="3483264"/>
            <a:ext cx="825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Мартынюк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684213" y="2308225"/>
            <a:ext cx="204787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Оформление пространства</a:t>
            </a:r>
            <a:br>
              <a:rPr lang="ru-RU" altLang="en-US" sz="1400" dirty="0"/>
            </a:br>
            <a:r>
              <a:rPr lang="ru-RU" altLang="en-US" sz="1400" dirty="0"/>
              <a:t>команды в </a:t>
            </a:r>
            <a:r>
              <a:rPr lang="en-US" altLang="en-US" sz="1400" dirty="0"/>
              <a:t>Miro</a:t>
            </a:r>
            <a:endParaRPr lang="ru-RU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684213" y="1252538"/>
            <a:ext cx="5381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/>
              <a:t>Задача</a:t>
            </a:r>
            <a:endParaRPr lang="ru-RU" sz="1400" b="1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B9CF8071-E3F7-41FD-A699-1F04317C6DC3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684213" y="4938713"/>
            <a:ext cx="25320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резентация датасета куратору и</a:t>
            </a:r>
            <a:br>
              <a:rPr lang="ru-RU" altLang="en-US" sz="1400" dirty="0"/>
            </a:br>
            <a:r>
              <a:rPr lang="ru-RU" altLang="en-US" sz="1400" dirty="0"/>
              <a:t>менторам</a:t>
            </a:r>
            <a:endParaRPr lang="ru-RU" sz="14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D7242CC9-D3B5-468D-B2DE-150C5AF0615B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0679113" y="5341938"/>
            <a:ext cx="712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Кагирина</a:t>
            </a:r>
            <a:endParaRPr lang="ru-RU" sz="14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684212" y="2097088"/>
            <a:ext cx="1670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Распределение ролей</a:t>
            </a:r>
            <a:endParaRPr lang="ru-RU" sz="1400" dirty="0"/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5FDC1B20-E3C5-4AE0-AA50-6BF85739B369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684212" y="6148388"/>
            <a:ext cx="26304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резентация результатов в рамках</a:t>
            </a:r>
            <a:br>
              <a:rPr lang="ru-RU" altLang="en-US" sz="1400" dirty="0"/>
            </a:br>
            <a:r>
              <a:rPr lang="en-US" altLang="en-US" sz="1400" dirty="0"/>
              <a:t>Demo Day</a:t>
            </a:r>
            <a:endParaRPr lang="ru-RU" sz="1400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157E88A3-1B3E-49DB-945A-ABE47541939C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0679113" y="6148388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Лосева</a:t>
            </a:r>
            <a:endParaRPr lang="ru-RU" sz="1400" dirty="0"/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47E55480-A33A-42FF-B41F-105DB6F475B9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0679113" y="4938713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Лосева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070837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FA471C-0AF1-499E-B51C-D1EE5DD931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735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FA471C-0AF1-499E-B51C-D1EE5DD93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D9A0BD3-99F6-4D0D-B071-17C1DF9D92DE}"/>
              </a:ext>
            </a:extLst>
          </p:cNvPr>
          <p:cNvSpPr txBox="1"/>
          <p:nvPr/>
        </p:nvSpPr>
        <p:spPr>
          <a:xfrm>
            <a:off x="192048" y="176007"/>
            <a:ext cx="26965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Black" panose="020B0A04020102020204" pitchFamily="34" charset="0"/>
              </a:rPr>
              <a:t>Аннотация проект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C8B7DC-558B-400B-B294-2CECB2C33256}"/>
              </a:ext>
            </a:extLst>
          </p:cNvPr>
          <p:cNvSpPr txBox="1"/>
          <p:nvPr/>
        </p:nvSpPr>
        <p:spPr>
          <a:xfrm>
            <a:off x="192048" y="2159321"/>
            <a:ext cx="1038136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/>
              <a:t>Задача для </a:t>
            </a:r>
            <a:r>
              <a:rPr lang="ru-RU" b="1" u="sng" dirty="0" err="1"/>
              <a:t>дататона</a:t>
            </a:r>
            <a:r>
              <a:rPr lang="ru-RU" b="1" u="sng" dirty="0"/>
              <a:t>:</a:t>
            </a:r>
            <a:r>
              <a:rPr lang="ru-RU" dirty="0"/>
              <a:t> </a:t>
            </a:r>
            <a:r>
              <a:rPr lang="ru-RU" sz="1800" b="0" i="0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анализ влияния погоды на онлайн-продажи</a:t>
            </a:r>
          </a:p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) Найти подходящие данные о продажах без ограничений на использование (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нашли на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Kaggle </a:t>
            </a:r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данны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е</a:t>
            </a:r>
          </a:p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об интернет-продажах в Бразилии за 2016-2018гг)</a:t>
            </a:r>
          </a:p>
          <a:p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2) Загрузить наблюдения метеостанций</a:t>
            </a:r>
            <a:endParaRPr lang="ru-RU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) Выверить часовые пояса и соединить данные для проведения анализа взаимосвязи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A087436-1E34-4308-831D-9632827F66CB}"/>
              </a:ext>
            </a:extLst>
          </p:cNvPr>
          <p:cNvSpPr txBox="1"/>
          <p:nvPr/>
        </p:nvSpPr>
        <p:spPr>
          <a:xfrm>
            <a:off x="192048" y="3826936"/>
            <a:ext cx="804842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i="0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Использованные источники информации: </a:t>
            </a:r>
          </a:p>
          <a:p>
            <a:r>
              <a:rPr lang="en-US" sz="1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Meteo-Api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</a:t>
            </a:r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  <a:hlinkClick r:id="rId5"/>
              </a:rPr>
              <a:t>https://open-meteo.com/en/docs/historical-weather-api</a:t>
            </a:r>
            <a:endParaRPr lang="ru-RU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Source Orders Data:</a:t>
            </a:r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  <a:hlinkClick r:id="rId6"/>
              </a:rPr>
              <a:t>https://www.kaggle.com/datasets/olistbr/brazilian-ecommerce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71B3BA-CB37-66C6-9C35-A39BAB4FB1DD}"/>
              </a:ext>
            </a:extLst>
          </p:cNvPr>
          <p:cNvSpPr txBox="1"/>
          <p:nvPr/>
        </p:nvSpPr>
        <p:spPr>
          <a:xfrm>
            <a:off x="192048" y="768705"/>
            <a:ext cx="844667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>
                <a:solidFill>
                  <a:srgbClr val="000000"/>
                </a:solidFill>
                <a:latin typeface="Calibri" panose="020F0502020204030204" pitchFamily="34" charset="0"/>
              </a:rPr>
              <a:t>Поиск идей для проекта</a:t>
            </a:r>
            <a:r>
              <a:rPr lang="ru-RU" sz="1800" b="1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Проверили возможность </a:t>
            </a:r>
            <a:r>
              <a:rPr lang="ru-RU" dirty="0" err="1">
                <a:solidFill>
                  <a:srgbClr val="000000"/>
                </a:solidFill>
                <a:latin typeface="Calibri" panose="020F0502020204030204" pitchFamily="34" charset="0"/>
              </a:rPr>
              <a:t>парсинга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 данных с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Ozon, 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Яндекс Маркета, </a:t>
            </a:r>
            <a:r>
              <a:rPr lang="ru-RU" dirty="0" err="1">
                <a:solidFill>
                  <a:srgbClr val="000000"/>
                </a:solidFill>
                <a:latin typeface="Calibri" panose="020F0502020204030204" pitchFamily="34" charset="0"/>
              </a:rPr>
              <a:t>Авито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, Юла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Решили остановиться на решении с возможностью использования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API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Вернулись к изначальной идее для проекта, связанной с анализом метеоданных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BDE7AFC-3FB0-8C9E-A097-9C40E31CB383}"/>
              </a:ext>
            </a:extLst>
          </p:cNvPr>
          <p:cNvSpPr txBox="1"/>
          <p:nvPr/>
        </p:nvSpPr>
        <p:spPr>
          <a:xfrm>
            <a:off x="192048" y="4940553"/>
            <a:ext cx="6537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i="0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GitHub </a:t>
            </a:r>
            <a:r>
              <a:rPr lang="ru-RU" sz="1800" b="1" i="0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проекта:</a:t>
            </a:r>
            <a:r>
              <a:rPr lang="ru-RU" dirty="0"/>
              <a:t> </a:t>
            </a:r>
            <a:r>
              <a:rPr lang="en-US" dirty="0">
                <a:hlinkClick r:id="rId7"/>
              </a:rPr>
              <a:t>https://github.com/martynyuks/yon-yonson-team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04AC05-4BA2-8232-2CAD-0CE9312C6E50}"/>
              </a:ext>
            </a:extLst>
          </p:cNvPr>
          <p:cNvSpPr txBox="1"/>
          <p:nvPr/>
        </p:nvSpPr>
        <p:spPr>
          <a:xfrm>
            <a:off x="192048" y="5387285"/>
            <a:ext cx="92973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Аннотация: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yon-yonson-team/README.md at main · 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martynyuks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/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 (github.com)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3122AE-3EF8-F024-100F-AF448922783A}"/>
              </a:ext>
            </a:extLst>
          </p:cNvPr>
          <p:cNvSpPr txBox="1"/>
          <p:nvPr/>
        </p:nvSpPr>
        <p:spPr>
          <a:xfrm>
            <a:off x="192048" y="5702984"/>
            <a:ext cx="10017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Датасет</a:t>
            </a:r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/orders_with_meteo.csv at main · 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martynyuks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/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 (github.com)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B3E089-E562-2158-8C58-BA39C66B5B0E}"/>
              </a:ext>
            </a:extLst>
          </p:cNvPr>
          <p:cNvSpPr txBox="1"/>
          <p:nvPr/>
        </p:nvSpPr>
        <p:spPr>
          <a:xfrm>
            <a:off x="192048" y="6018683"/>
            <a:ext cx="11184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Ноутбук с кодом: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/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dataton_yon_yonson.ipynbat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 main · 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martynyuks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/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 (github.com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503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5E0576-3586-BEE4-FFBA-BDAB3835618B}"/>
              </a:ext>
            </a:extLst>
          </p:cNvPr>
          <p:cNvSpPr txBox="1"/>
          <p:nvPr/>
        </p:nvSpPr>
        <p:spPr>
          <a:xfrm>
            <a:off x="219757" y="176007"/>
            <a:ext cx="35301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Black" panose="020B0A04020102020204" pitchFamily="34" charset="0"/>
              </a:rPr>
              <a:t>Характеристика </a:t>
            </a:r>
            <a:r>
              <a:rPr lang="ru-RU" dirty="0" err="1">
                <a:latin typeface="Arial Black" panose="020B0A04020102020204" pitchFamily="34" charset="0"/>
              </a:rPr>
              <a:t>датасета</a:t>
            </a:r>
            <a:endParaRPr lang="ru-RU" dirty="0">
              <a:latin typeface="Arial Black" panose="020B0A040201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EC0FE0B-C42A-DA39-1FA5-591CBF0B2D23}"/>
              </a:ext>
            </a:extLst>
          </p:cNvPr>
          <p:cNvSpPr txBox="1"/>
          <p:nvPr/>
        </p:nvSpPr>
        <p:spPr>
          <a:xfrm>
            <a:off x="219757" y="596292"/>
            <a:ext cx="35368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>
                <a:solidFill>
                  <a:srgbClr val="000000"/>
                </a:solidFill>
                <a:latin typeface="Calibri" panose="020F0502020204030204" pitchFamily="34" charset="0"/>
              </a:rPr>
              <a:t>Количество наблюдений: 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107 80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F04CC3-5CB5-6C37-6F18-CD214CC112CB}"/>
              </a:ext>
            </a:extLst>
          </p:cNvPr>
          <p:cNvSpPr txBox="1"/>
          <p:nvPr/>
        </p:nvSpPr>
        <p:spPr>
          <a:xfrm>
            <a:off x="219757" y="899345"/>
            <a:ext cx="7841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>
                <a:solidFill>
                  <a:srgbClr val="000000"/>
                </a:solidFill>
                <a:latin typeface="Calibri" panose="020F0502020204030204" pitchFamily="34" charset="0"/>
              </a:rPr>
              <a:t>Фичи:</a:t>
            </a:r>
            <a:endParaRPr lang="ru-RU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820472-C149-96B1-A129-A7E062BF9AC5}"/>
              </a:ext>
            </a:extLst>
          </p:cNvPr>
          <p:cNvSpPr txBox="1"/>
          <p:nvPr/>
        </p:nvSpPr>
        <p:spPr>
          <a:xfrm>
            <a:off x="219757" y="1084011"/>
            <a:ext cx="9919855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ru-RU" sz="10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.-timestamp		временная метка заказа в локальной 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таймзоне</a:t>
            </a:r>
            <a:endParaRPr lang="ru-RU" sz="10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.-payment_valu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сумма	транзакции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.-zip_cod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индекс покупателя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4.-city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город покупателя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5.-stat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штат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6.-latitud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широта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7.-longitud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долгота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8.-items_quant		количество товаров в заказе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9.-product_category	категория продукта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0.-dat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дата заказа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1.-tim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время заказа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2.-weekday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день заказа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3.-apparent_temperature_max	суточная максимальная температура (по ощущениям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4.-apparent_temperature_min	суточная минимальная температура (по ощущениям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5.-et0_fao_evapotranspiration	суточная 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эвапотранспирация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(количество испаряемой влаги)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6.-precipitation_hours	суточное количество часов, когда шёл дождь         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7.-precipitation_sum	суточное количество осадков, включая дождь, снег (мм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8.-rain_sum		суточная количество осадков (дождь) (мм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9.-snowfall_sum		суточное количество осадков (снег) (мм)         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0.-sunrise		время рассвета (iso8601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1.-sunset		время заката (iso8601)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2.-weathercod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код погоды (</a:t>
            </a:r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WMO code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3.-winddirection_10m_dominant	доминирующее направление ветра (°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4.-windgusts_10m_max	максимальная порывы ветра за сутки (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m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/h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5.-windspeed_10m_max	максимальная скорость ветра за сутки (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m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/h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6.-cloud_cover_total_mean_%	процент общей облачности (%)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7.-cloudcover_high_mean_%	облака на высоте от 6 километров (%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8.-cloudcover_low_mean_%	облака и туман на высоте до 2х километров (%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9.-cloudcover_mid_mean_%	облака на высоте от 2х до 6 километров (%)  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0.-surface_pressure_mean_hPa	атмосферное давление за день (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Pa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1.-temperature_2m_max	максимальная дневная температура, два метра над землей (C°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2.-temperature_2m_min	минимальная дневная температура, два метра над землей (C°)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3.-daily_shortwave_radiation_su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суммарная солнечная радиация за день в 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МегаДжоулях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(</a:t>
            </a:r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J/m²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4.-temperature_2m_hourly	температура на момент заказа (C°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5.-precipitation_hourly	количество осадков за предыдущий час (дождь, снег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6.-relative_humidity_2m_hourly	относительная влажность, 2 метра над землей (%)</a:t>
            </a:r>
          </a:p>
          <a:p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168319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4CFBAAC-DF60-0B6A-A4B7-0FA76AE01D9C}"/>
              </a:ext>
            </a:extLst>
          </p:cNvPr>
          <p:cNvSpPr>
            <a:spLocks noGrp="1" noChangeAspect="1" noChangeArrowheads="1"/>
          </p:cNvSpPr>
          <p:nvPr>
            <p:ph idx="1"/>
          </p:nvPr>
        </p:nvSpPr>
        <p:spPr bwMode="auto">
          <a:xfrm>
            <a:off x="219363" y="660513"/>
            <a:ext cx="7308273" cy="327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0" indent="0">
              <a:buNone/>
            </a:pPr>
            <a:r>
              <a:rPr lang="ru-RU" sz="1800" dirty="0"/>
              <a:t>Выброс суммарного объема платежей 24 ноября - Черная пятница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790F29-1BCC-549C-E0A3-20EB0AF8F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75" y="988291"/>
            <a:ext cx="11156015" cy="5578008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0353DF31-E88B-54AE-3C4C-C5BAF814B576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63" y="988291"/>
            <a:ext cx="11311084" cy="327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Основные факторы: грядущее рождество, начало «лета», возможность сэкономить на дорогих товарах </a:t>
            </a:r>
          </a:p>
        </p:txBody>
      </p:sp>
    </p:spTree>
    <p:extLst>
      <p:ext uri="{BB962C8B-B14F-4D97-AF65-F5344CB8AC3E}">
        <p14:creationId xmlns:p14="http://schemas.microsoft.com/office/powerpoint/2010/main" val="37214800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4CFBAAC-DF60-0B6A-A4B7-0FA76AE01D9C}"/>
              </a:ext>
            </a:extLst>
          </p:cNvPr>
          <p:cNvSpPr>
            <a:spLocks noGrp="1" noChangeAspect="1" noChangeArrowheads="1"/>
          </p:cNvSpPr>
          <p:nvPr>
            <p:ph idx="1"/>
          </p:nvPr>
        </p:nvSpPr>
        <p:spPr bwMode="auto">
          <a:xfrm>
            <a:off x="219363" y="660513"/>
            <a:ext cx="7308273" cy="327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0" indent="0">
              <a:buNone/>
            </a:pPr>
            <a:r>
              <a:rPr lang="ru-RU" sz="1800" dirty="0"/>
              <a:t>Неравномерность продаж по дням недели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14CE66D-F3E2-5A14-0D02-9986738239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090" y="1145133"/>
            <a:ext cx="10248909" cy="5124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991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DB8F4B2-A5C6-9964-856A-33687834F4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75" y="1466850"/>
            <a:ext cx="10782300" cy="53911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4CFBAAC-DF60-0B6A-A4B7-0FA76AE01D9C}"/>
              </a:ext>
            </a:extLst>
          </p:cNvPr>
          <p:cNvSpPr>
            <a:spLocks noGrp="1" noChangeAspect="1" noChangeArrowheads="1"/>
          </p:cNvSpPr>
          <p:nvPr>
            <p:ph idx="1"/>
          </p:nvPr>
        </p:nvSpPr>
        <p:spPr bwMode="auto">
          <a:xfrm>
            <a:off x="219359" y="930165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0" indent="0">
              <a:buNone/>
            </a:pPr>
            <a:r>
              <a:rPr lang="ru-RU" sz="1600" dirty="0"/>
              <a:t>- Самые жаркие месяцы – с января по март, самый холодный - июль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9" y="610589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600" dirty="0"/>
              <a:t>- Среднедневная температура в Бразилии: от 13 до 28 градусов</a:t>
            </a:r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7391F6C6-BB16-BCCB-A388-3C2F4A17D477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8" y="1504681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600" dirty="0"/>
              <a:t>- Люди более адекватно оценивают низкую температуру, чем жару</a:t>
            </a:r>
          </a:p>
        </p:txBody>
      </p:sp>
      <p:sp>
        <p:nvSpPr>
          <p:cNvPr id="9" name="AutoShape 2">
            <a:extLst>
              <a:ext uri="{FF2B5EF4-FFF2-40B4-BE49-F238E27FC236}">
                <a16:creationId xmlns:a16="http://schemas.microsoft.com/office/drawing/2014/main" id="{B6006983-9A47-BADB-F4AE-2DADE505C1B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34371" y="1215629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600" dirty="0"/>
              <a:t>- Дожди в основном идут «летом»: с ноября по апрель</a:t>
            </a:r>
          </a:p>
        </p:txBody>
      </p:sp>
    </p:spTree>
    <p:extLst>
      <p:ext uri="{BB962C8B-B14F-4D97-AF65-F5344CB8AC3E}">
        <p14:creationId xmlns:p14="http://schemas.microsoft.com/office/powerpoint/2010/main" val="1861741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4CFBAAC-DF60-0B6A-A4B7-0FA76AE01D9C}"/>
              </a:ext>
            </a:extLst>
          </p:cNvPr>
          <p:cNvSpPr>
            <a:spLocks noGrp="1" noChangeAspect="1" noChangeArrowheads="1"/>
          </p:cNvSpPr>
          <p:nvPr>
            <p:ph idx="1"/>
          </p:nvPr>
        </p:nvSpPr>
        <p:spPr bwMode="auto">
          <a:xfrm>
            <a:off x="219359" y="1578371"/>
            <a:ext cx="7308273" cy="996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10000"/>
          </a:bodyPr>
          <a:lstStyle/>
          <a:p>
            <a:pPr marL="0" indent="0">
              <a:buNone/>
            </a:pPr>
            <a:r>
              <a:rPr lang="ru-RU" sz="1800" dirty="0"/>
              <a:t>- более высоких максимальных температурах (экстремальная жара) - </a:t>
            </a:r>
            <a:r>
              <a:rPr lang="ru-RU" sz="1800" dirty="0" err="1"/>
              <a:t>корр</a:t>
            </a:r>
            <a:r>
              <a:rPr lang="ru-RU" sz="1800" dirty="0"/>
              <a:t> 0,15</a:t>
            </a:r>
          </a:p>
          <a:p>
            <a:pPr marL="0" indent="0">
              <a:buNone/>
            </a:pPr>
            <a:r>
              <a:rPr lang="ru-RU" sz="1800" dirty="0"/>
              <a:t>- сильном ветре - </a:t>
            </a:r>
            <a:r>
              <a:rPr lang="ru-RU" sz="1800" dirty="0" err="1"/>
              <a:t>корр</a:t>
            </a:r>
            <a:r>
              <a:rPr lang="ru-RU" sz="1800" dirty="0"/>
              <a:t> 0,16</a:t>
            </a:r>
          </a:p>
          <a:p>
            <a:pPr marL="0" indent="0">
              <a:buNone/>
            </a:pPr>
            <a:r>
              <a:rPr lang="ru-RU" sz="1800" dirty="0"/>
              <a:t>- низком давлении - </a:t>
            </a:r>
            <a:r>
              <a:rPr lang="ru-RU" sz="1800" dirty="0" err="1"/>
              <a:t>корр</a:t>
            </a:r>
            <a:r>
              <a:rPr lang="ru-RU" sz="1800" dirty="0"/>
              <a:t> -0,27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9" y="1041371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Общий объем продаж (выручка) растет при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543CF11-C426-DD42-F323-C5B91BB8A3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443" y="3036127"/>
            <a:ext cx="10159527" cy="278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0904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63" y="855215"/>
            <a:ext cx="11686891" cy="59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Кол-во заказов растет при экстремальных температурах: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	если температура опускает ниже 15 градусов или поднимается выше 3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15215E-4FBD-8383-08DD-278F4438C7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89" y="1371458"/>
            <a:ext cx="10972822" cy="5486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8929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CuH2Tbtzv.mSm6Yhyq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55bK.igjJbBAO6pj9m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aysS_dBa_A2w3LDAj6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luUgYW_ogflQr_eKLe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qgzD12CY4.I1jetjfd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efZBVm9jsEukLqVs3A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AyGhSrJnV.3i1Q0qP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dE9o_zWpLAFA_2.ktP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nH1oICvsLtUCBy9Wtk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8dMmgOITPbOQFKR.su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znV5tCHkaPJJqjB4Bt.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QHlho82ThO07xJMaRH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U5lqzBwJGdiM8hBkShA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ExjK74BsPIv4WoIv7O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R8mKkrkox0yFCl2k3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Uulj2pd3VEmlLA116W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Xe6eyEQ2aLobnrMmnF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0sLiEQfzA2Qn0cnS9v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mAgHqUYm6xqy3m0ueE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pbkzm04aWE7W61ncfZ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T1wiAqC6xCpnlOWecC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teGRzgitcWXwOy7AMo.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xA02sNAQKKk9go8a5p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guPWxmsz9mIXbk_Emx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52nOzAIxwZAqVVm0Z9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lIcPDJeztWPW07GN6D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ccR4eZlBuSTH8Zht3j8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bVNYvsJSY46zuCionm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1Zex9HBNlDxBX40Bn.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Pig24wdDtDYnZaid_m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ciSvoQw4LTYSrbJ8nY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Plvp9DZILhl1zS2ef1b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z78wdP1.CQ420GNsda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.O4xQSatF9IrTtqviy6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Vq_r_H8RvMb7BWo8Pa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4QUuZGfMq.fWXeBnbR1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2hdD_OJAZTRu.X9QMk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nGiJT1Io3xU4l1swjH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MH22HYWxMLncrOFdg5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NLe9QxEQ26tjnbBBRB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cQhwpRaolECPX9vI5z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yjVeaXitPDNrhT7IlU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58_P8j7Q4HETOr25ol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b5z8kVx0KPqWpM9J4a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oYwzEl4eSg1E0Ev_gU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Sb3X35Meh2PQA_xv9y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gRP2pG_C1lzJraAGjy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ptBP3sfJnjP5mCIn5I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NUCF25Po_wY4i4klNO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55wP_PP7zTqJC2yFP0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5hFTXIxYVSpWyjSxhY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MWISMxjYZZjHAvACu4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GbzbhPqfzBfwphXDnf8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wxAVOE96vdNdnQ9MNH1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s4pONuQaaUwyi7hDhq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BjL0_eV.8j3nY3T.KL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qoTAx_hPpfGnFB4nS6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7GB_R_4_OycRnZSwR26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5804_cV2shU4vMS3gcl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9lUyVS8dPxQWaM2I5q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bmZs23bjpeAhJeaVGTF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urfg5mjqaDYWDFdZ.c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_5Scv9BXLneW0z6FcA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kIxNTnqTuCfE39_Ip0y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Ubt1vzhEfxKPMKEz78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_BRHMmZ4VlysQBu3UBj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rpEWFgmKoEN1m6iBve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YSEnAOsyMdSFdYqkG.E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oF7Gq.mLyHXSp9Gdp4j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tKdt9vLe5mmTFLIIuKm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pWbX2lgZy8RBEUAxaT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tVNrnKwvS80P9qzIY5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9</TotalTime>
  <Words>1091</Words>
  <Application>Microsoft Office PowerPoint</Application>
  <PresentationFormat>Widescreen</PresentationFormat>
  <Paragraphs>192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Arial Black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Интересные находки</vt:lpstr>
      <vt:lpstr>Интересные находки</vt:lpstr>
      <vt:lpstr>Интересные находки</vt:lpstr>
      <vt:lpstr>Интересные находки</vt:lpstr>
      <vt:lpstr>Интересные находки</vt:lpstr>
      <vt:lpstr>Интересные находки</vt:lpstr>
      <vt:lpstr>Интересные находки</vt:lpstr>
      <vt:lpstr>Благодарим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Беляков Илья Александрович</dc:creator>
  <cp:lastModifiedBy>Nadia I</cp:lastModifiedBy>
  <cp:revision>25</cp:revision>
  <dcterms:created xsi:type="dcterms:W3CDTF">2022-12-22T12:51:13Z</dcterms:created>
  <dcterms:modified xsi:type="dcterms:W3CDTF">2022-12-28T14:27:15Z</dcterms:modified>
</cp:coreProperties>
</file>